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705BF-82F8-5ABB-F5FB-80498A686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6836E9-CBF9-4DAB-C262-A8C408422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6836E9-CBF9-4DAB-C262-A8C408422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74FAD1-FA06-8299-ADDE-9C45E950F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719B4-7DE0-9CEE-B6AE-27FA94453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BCCC65-E84F-449D-5205-C3909AB56D86}"/>
              </a:ext>
            </a:extLst>
          </p:cNvPr>
          <p:cNvSpPr/>
          <p:nvPr/>
        </p:nvSpPr>
        <p:spPr>
          <a:xfrm>
            <a:off x="968450" y="1725722"/>
            <a:ext cx="1828800" cy="1828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8CCF24E7-1749-3F1C-CC23-EC1A53A1FA17}"/>
              </a:ext>
            </a:extLst>
          </p:cNvPr>
          <p:cNvSpPr/>
          <p:nvPr/>
        </p:nvSpPr>
        <p:spPr>
          <a:xfrm>
            <a:off x="1621230" y="2300055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772BE40-70E3-873A-8752-611206854B46}"/>
              </a:ext>
            </a:extLst>
          </p:cNvPr>
          <p:cNvSpPr/>
          <p:nvPr/>
        </p:nvSpPr>
        <p:spPr>
          <a:xfrm>
            <a:off x="3739206" y="4497655"/>
            <a:ext cx="1153633" cy="115363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D648931-ED54-3098-37E2-726DEBD35CD3}"/>
              </a:ext>
            </a:extLst>
          </p:cNvPr>
          <p:cNvSpPr/>
          <p:nvPr/>
        </p:nvSpPr>
        <p:spPr>
          <a:xfrm>
            <a:off x="4098471" y="4926035"/>
            <a:ext cx="435103" cy="296872"/>
          </a:xfrm>
          <a:custGeom>
            <a:avLst/>
            <a:gdLst/>
            <a:ahLst/>
            <a:cxnLst/>
            <a:rect l="l" t="t" r="r" b="b"/>
            <a:pathLst>
              <a:path w="209401" h="142875">
                <a:moveTo>
                  <a:pt x="87734" y="125239"/>
                </a:moveTo>
                <a:cubicBezTo>
                  <a:pt x="85799" y="125239"/>
                  <a:pt x="84683" y="125500"/>
                  <a:pt x="84385" y="126020"/>
                </a:cubicBezTo>
                <a:lnTo>
                  <a:pt x="78134" y="132160"/>
                </a:lnTo>
                <a:lnTo>
                  <a:pt x="77911" y="132383"/>
                </a:lnTo>
                <a:cubicBezTo>
                  <a:pt x="77911" y="132978"/>
                  <a:pt x="78916" y="133276"/>
                  <a:pt x="80925" y="133276"/>
                </a:cubicBezTo>
                <a:lnTo>
                  <a:pt x="128476" y="133276"/>
                </a:lnTo>
                <a:cubicBezTo>
                  <a:pt x="130485" y="133276"/>
                  <a:pt x="131489" y="132978"/>
                  <a:pt x="131489" y="132383"/>
                </a:cubicBezTo>
                <a:cubicBezTo>
                  <a:pt x="131489" y="132234"/>
                  <a:pt x="131415" y="132160"/>
                  <a:pt x="131266" y="132160"/>
                </a:cubicBezTo>
                <a:lnTo>
                  <a:pt x="125239" y="126020"/>
                </a:lnTo>
                <a:cubicBezTo>
                  <a:pt x="124718" y="125500"/>
                  <a:pt x="123527" y="125239"/>
                  <a:pt x="121667" y="125239"/>
                </a:cubicBezTo>
                <a:close/>
                <a:moveTo>
                  <a:pt x="28575" y="9600"/>
                </a:moveTo>
                <a:lnTo>
                  <a:pt x="28575" y="114300"/>
                </a:lnTo>
                <a:lnTo>
                  <a:pt x="180826" y="114300"/>
                </a:lnTo>
                <a:lnTo>
                  <a:pt x="180826" y="9600"/>
                </a:lnTo>
                <a:close/>
                <a:moveTo>
                  <a:pt x="28575" y="0"/>
                </a:moveTo>
                <a:lnTo>
                  <a:pt x="180826" y="0"/>
                </a:lnTo>
                <a:cubicBezTo>
                  <a:pt x="183207" y="0"/>
                  <a:pt x="185402" y="968"/>
                  <a:pt x="187411" y="2902"/>
                </a:cubicBezTo>
                <a:cubicBezTo>
                  <a:pt x="189421" y="4837"/>
                  <a:pt x="190425" y="6995"/>
                  <a:pt x="190425" y="9376"/>
                </a:cubicBezTo>
                <a:lnTo>
                  <a:pt x="190425" y="114300"/>
                </a:lnTo>
                <a:lnTo>
                  <a:pt x="209401" y="133276"/>
                </a:lnTo>
                <a:cubicBezTo>
                  <a:pt x="209401" y="135955"/>
                  <a:pt x="208526" y="138224"/>
                  <a:pt x="206778" y="140085"/>
                </a:cubicBezTo>
                <a:cubicBezTo>
                  <a:pt x="205029" y="141945"/>
                  <a:pt x="202778" y="142875"/>
                  <a:pt x="200025" y="142875"/>
                </a:cubicBezTo>
                <a:lnTo>
                  <a:pt x="9376" y="142875"/>
                </a:lnTo>
                <a:cubicBezTo>
                  <a:pt x="6623" y="142875"/>
                  <a:pt x="4371" y="141982"/>
                  <a:pt x="2623" y="140196"/>
                </a:cubicBezTo>
                <a:cubicBezTo>
                  <a:pt x="874" y="138410"/>
                  <a:pt x="0" y="136104"/>
                  <a:pt x="0" y="133276"/>
                </a:cubicBezTo>
                <a:lnTo>
                  <a:pt x="18975" y="114300"/>
                </a:lnTo>
                <a:lnTo>
                  <a:pt x="18975" y="9376"/>
                </a:lnTo>
                <a:cubicBezTo>
                  <a:pt x="18975" y="6995"/>
                  <a:pt x="19980" y="4837"/>
                  <a:pt x="21989" y="2902"/>
                </a:cubicBezTo>
                <a:cubicBezTo>
                  <a:pt x="23998" y="968"/>
                  <a:pt x="26193" y="0"/>
                  <a:pt x="2857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E400080-A4FE-6C6F-501A-D2BAEBFD6E8D}"/>
              </a:ext>
            </a:extLst>
          </p:cNvPr>
          <p:cNvSpPr/>
          <p:nvPr/>
        </p:nvSpPr>
        <p:spPr>
          <a:xfrm>
            <a:off x="6363013" y="1725722"/>
            <a:ext cx="1467469" cy="1467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266823-E58B-7C2B-A26C-9D921C8053EA}"/>
              </a:ext>
            </a:extLst>
          </p:cNvPr>
          <p:cNvSpPr/>
          <p:nvPr/>
        </p:nvSpPr>
        <p:spPr>
          <a:xfrm>
            <a:off x="7989969" y="4497655"/>
            <a:ext cx="789819" cy="78981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2">
            <a:extLst>
              <a:ext uri="{FF2B5EF4-FFF2-40B4-BE49-F238E27FC236}">
                <a16:creationId xmlns:a16="http://schemas.microsoft.com/office/drawing/2014/main" id="{7A75471D-A744-41E3-D86C-3111611CDECC}"/>
              </a:ext>
            </a:extLst>
          </p:cNvPr>
          <p:cNvSpPr/>
          <p:nvPr/>
        </p:nvSpPr>
        <p:spPr>
          <a:xfrm>
            <a:off x="8242836" y="4750522"/>
            <a:ext cx="284084" cy="284084"/>
          </a:xfrm>
          <a:custGeom>
            <a:avLst/>
            <a:gdLst/>
            <a:ahLst/>
            <a:cxnLst/>
            <a:rect l="l" t="t" r="r" b="b"/>
            <a:pathLst>
              <a:path w="171450" h="171450">
                <a:moveTo>
                  <a:pt x="85725" y="116868"/>
                </a:moveTo>
                <a:cubicBezTo>
                  <a:pt x="84311" y="116868"/>
                  <a:pt x="83158" y="117322"/>
                  <a:pt x="82265" y="118230"/>
                </a:cubicBezTo>
                <a:cubicBezTo>
                  <a:pt x="81372" y="119138"/>
                  <a:pt x="80925" y="120310"/>
                  <a:pt x="80925" y="121748"/>
                </a:cubicBezTo>
                <a:cubicBezTo>
                  <a:pt x="80925" y="123185"/>
                  <a:pt x="81372" y="124357"/>
                  <a:pt x="82265" y="125265"/>
                </a:cubicBezTo>
                <a:cubicBezTo>
                  <a:pt x="83158" y="126173"/>
                  <a:pt x="84311" y="126627"/>
                  <a:pt x="85725" y="126627"/>
                </a:cubicBezTo>
                <a:cubicBezTo>
                  <a:pt x="87139" y="126627"/>
                  <a:pt x="88292" y="126173"/>
                  <a:pt x="89185" y="125265"/>
                </a:cubicBezTo>
                <a:cubicBezTo>
                  <a:pt x="90078" y="124357"/>
                  <a:pt x="90525" y="123185"/>
                  <a:pt x="90525" y="121748"/>
                </a:cubicBezTo>
                <a:cubicBezTo>
                  <a:pt x="90525" y="120310"/>
                  <a:pt x="90078" y="119138"/>
                  <a:pt x="89185" y="118230"/>
                </a:cubicBezTo>
                <a:cubicBezTo>
                  <a:pt x="88292" y="117322"/>
                  <a:pt x="87139" y="116868"/>
                  <a:pt x="85725" y="116868"/>
                </a:cubicBezTo>
                <a:close/>
                <a:moveTo>
                  <a:pt x="9600" y="9600"/>
                </a:moveTo>
                <a:lnTo>
                  <a:pt x="9600" y="107268"/>
                </a:lnTo>
                <a:lnTo>
                  <a:pt x="161851" y="107268"/>
                </a:lnTo>
                <a:lnTo>
                  <a:pt x="161851" y="9600"/>
                </a:lnTo>
                <a:close/>
                <a:moveTo>
                  <a:pt x="7367" y="0"/>
                </a:moveTo>
                <a:lnTo>
                  <a:pt x="164083" y="0"/>
                </a:lnTo>
                <a:cubicBezTo>
                  <a:pt x="166167" y="0"/>
                  <a:pt x="167915" y="707"/>
                  <a:pt x="169329" y="2121"/>
                </a:cubicBezTo>
                <a:cubicBezTo>
                  <a:pt x="170743" y="3535"/>
                  <a:pt x="171450" y="5284"/>
                  <a:pt x="171450" y="7367"/>
                </a:cubicBezTo>
                <a:lnTo>
                  <a:pt x="171450" y="134839"/>
                </a:lnTo>
                <a:cubicBezTo>
                  <a:pt x="171450" y="136922"/>
                  <a:pt x="170762" y="138671"/>
                  <a:pt x="169385" y="140085"/>
                </a:cubicBezTo>
                <a:cubicBezTo>
                  <a:pt x="168008" y="141499"/>
                  <a:pt x="166241" y="142206"/>
                  <a:pt x="164083" y="142206"/>
                </a:cubicBezTo>
                <a:lnTo>
                  <a:pt x="102915" y="142206"/>
                </a:lnTo>
                <a:lnTo>
                  <a:pt x="105817" y="164865"/>
                </a:lnTo>
                <a:lnTo>
                  <a:pt x="110617" y="169664"/>
                </a:lnTo>
                <a:lnTo>
                  <a:pt x="110617" y="170334"/>
                </a:lnTo>
                <a:cubicBezTo>
                  <a:pt x="110542" y="170632"/>
                  <a:pt x="110077" y="170874"/>
                  <a:pt x="109221" y="171060"/>
                </a:cubicBezTo>
                <a:cubicBezTo>
                  <a:pt x="108366" y="171246"/>
                  <a:pt x="107528" y="171339"/>
                  <a:pt x="106710" y="171339"/>
                </a:cubicBezTo>
                <a:lnTo>
                  <a:pt x="105370" y="171450"/>
                </a:lnTo>
                <a:lnTo>
                  <a:pt x="66080" y="171450"/>
                </a:lnTo>
                <a:cubicBezTo>
                  <a:pt x="62731" y="171450"/>
                  <a:pt x="60908" y="171078"/>
                  <a:pt x="60610" y="170334"/>
                </a:cubicBezTo>
                <a:lnTo>
                  <a:pt x="60610" y="169664"/>
                </a:lnTo>
                <a:lnTo>
                  <a:pt x="65633" y="164865"/>
                </a:lnTo>
                <a:lnTo>
                  <a:pt x="68535" y="142206"/>
                </a:lnTo>
                <a:lnTo>
                  <a:pt x="7367" y="142206"/>
                </a:lnTo>
                <a:cubicBezTo>
                  <a:pt x="5209" y="142206"/>
                  <a:pt x="3442" y="141499"/>
                  <a:pt x="2065" y="140085"/>
                </a:cubicBezTo>
                <a:cubicBezTo>
                  <a:pt x="688" y="138671"/>
                  <a:pt x="0" y="136922"/>
                  <a:pt x="0" y="134839"/>
                </a:cubicBezTo>
                <a:lnTo>
                  <a:pt x="0" y="7367"/>
                </a:lnTo>
                <a:cubicBezTo>
                  <a:pt x="0" y="5284"/>
                  <a:pt x="707" y="3535"/>
                  <a:pt x="2121" y="2121"/>
                </a:cubicBezTo>
                <a:cubicBezTo>
                  <a:pt x="3535" y="707"/>
                  <a:pt x="5284" y="0"/>
                  <a:pt x="73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75283B-511F-1347-5D60-F0FD1F30A547}"/>
              </a:ext>
            </a:extLst>
          </p:cNvPr>
          <p:cNvSpPr/>
          <p:nvPr/>
        </p:nvSpPr>
        <p:spPr>
          <a:xfrm>
            <a:off x="3375602" y="2486079"/>
            <a:ext cx="903767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DCFE75-A9D7-2D82-768E-3D0E2E464725}"/>
              </a:ext>
            </a:extLst>
          </p:cNvPr>
          <p:cNvSpPr txBox="1"/>
          <p:nvPr/>
        </p:nvSpPr>
        <p:spPr>
          <a:xfrm>
            <a:off x="3280935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F62AD9-6ED9-4B83-60EC-F67C912B84F9}"/>
              </a:ext>
            </a:extLst>
          </p:cNvPr>
          <p:cNvSpPr txBox="1"/>
          <p:nvPr/>
        </p:nvSpPr>
        <p:spPr>
          <a:xfrm>
            <a:off x="3375602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CCCA3C-AEFD-5123-8956-2D80B736E19E}"/>
              </a:ext>
            </a:extLst>
          </p:cNvPr>
          <p:cNvSpPr/>
          <p:nvPr/>
        </p:nvSpPr>
        <p:spPr>
          <a:xfrm>
            <a:off x="8406314" y="2486079"/>
            <a:ext cx="73152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F44C44-4798-172F-2813-6FB3C50409D1}"/>
              </a:ext>
            </a:extLst>
          </p:cNvPr>
          <p:cNvSpPr txBox="1"/>
          <p:nvPr/>
        </p:nvSpPr>
        <p:spPr>
          <a:xfrm>
            <a:off x="8311647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CF88A1-D97E-8BE3-2CD3-79EFF095E1E4}"/>
              </a:ext>
            </a:extLst>
          </p:cNvPr>
          <p:cNvSpPr txBox="1"/>
          <p:nvPr/>
        </p:nvSpPr>
        <p:spPr>
          <a:xfrm>
            <a:off x="8406314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5D5981-A4D5-87D1-ACC7-0C76B06C8319}"/>
              </a:ext>
            </a:extLst>
          </p:cNvPr>
          <p:cNvSpPr/>
          <p:nvPr/>
        </p:nvSpPr>
        <p:spPr>
          <a:xfrm>
            <a:off x="9236411" y="4738521"/>
            <a:ext cx="18288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B563CA-87F8-145B-8BA5-022BC3C6C2FC}"/>
              </a:ext>
            </a:extLst>
          </p:cNvPr>
          <p:cNvSpPr txBox="1"/>
          <p:nvPr/>
        </p:nvSpPr>
        <p:spPr>
          <a:xfrm>
            <a:off x="9141744" y="4273176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46155D-EA8A-5863-25EE-1717EEC0B48C}"/>
              </a:ext>
            </a:extLst>
          </p:cNvPr>
          <p:cNvSpPr txBox="1"/>
          <p:nvPr/>
        </p:nvSpPr>
        <p:spPr>
          <a:xfrm>
            <a:off x="9236411" y="4923496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09C167-118F-2DDA-CE81-970F893B096A}"/>
              </a:ext>
            </a:extLst>
          </p:cNvPr>
          <p:cNvSpPr/>
          <p:nvPr/>
        </p:nvSpPr>
        <p:spPr>
          <a:xfrm>
            <a:off x="5355910" y="4819982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7C435D-D78F-A1B0-9769-72AD7B7753FB}"/>
              </a:ext>
            </a:extLst>
          </p:cNvPr>
          <p:cNvSpPr txBox="1"/>
          <p:nvPr/>
        </p:nvSpPr>
        <p:spPr>
          <a:xfrm>
            <a:off x="5261243" y="4354637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A9AF518-B085-05DC-907F-8FC6C736D6D8}"/>
              </a:ext>
            </a:extLst>
          </p:cNvPr>
          <p:cNvSpPr txBox="1"/>
          <p:nvPr/>
        </p:nvSpPr>
        <p:spPr>
          <a:xfrm>
            <a:off x="5355910" y="5004957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C9862978-A810-8794-4D5C-015B272F1551}"/>
              </a:ext>
            </a:extLst>
          </p:cNvPr>
          <p:cNvSpPr/>
          <p:nvPr/>
        </p:nvSpPr>
        <p:spPr>
          <a:xfrm>
            <a:off x="6869935" y="2168872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041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4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7</cp:revision>
  <dcterms:created xsi:type="dcterms:W3CDTF">2021-03-31T02:49:57Z</dcterms:created>
  <dcterms:modified xsi:type="dcterms:W3CDTF">2025-10-16T10:57:22Z</dcterms:modified>
  <cp:category/>
</cp:coreProperties>
</file>